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Mejorar la flexibilidad del proceso de la botell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Barras de cuar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35EBDE-D6DC-450C-922E-5D28FFDEAC5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Instalación de una varilla de cuarzo entre la lámpara calefactora y la preforma para concentrar / enfocar la radiación IR.</a:t>
            </a:r>
          </a:p>
          <a:p>
            <a:endParaRPr lang="es-ES" sz="11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9" y="2233613"/>
            <a:ext cx="3889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Contribuye a solucionar los problemas de calentamiento, especialmente en la preforma debajo del cuell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Solo para la prime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ecomendado para asegurar la producción de botellas de </a:t>
            </a:r>
            <a:r>
              <a:rPr lang="es-ES" altLang="fr-FR" sz="1200" dirty="0" err="1"/>
              <a:t>rPET</a:t>
            </a:r>
            <a:r>
              <a:rPr lang="es-ES" altLang="fr-FR" sz="1200" dirty="0"/>
              <a:t>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protección del cuello de la botell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obustez del proce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asegurar una distribución óptima del material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>
                <a:solidFill>
                  <a:srgbClr val="000000"/>
                </a:solidFill>
              </a:rPr>
              <a:t>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1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>
                <a:solidFill>
                  <a:srgbClr val="000000"/>
                </a:solidFill>
                <a:latin typeface="Arial"/>
              </a:rPr>
              <a:t>115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A60B7FBB-FA71-4702-8BA4-3185203130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5</TotalTime>
  <Words>99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jorar la flexibilidad del proceso de la botel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4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